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62" r:id="rId4"/>
    <p:sldId id="263" r:id="rId5"/>
    <p:sldId id="264" r:id="rId6"/>
    <p:sldId id="265" r:id="rId7"/>
    <p:sldId id="260" r:id="rId8"/>
    <p:sldId id="261" r:id="rId9"/>
    <p:sldId id="266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F3D6C5-ED7C-42F8-A166-914CCA3106A1}" v="158" dt="2020-01-28T13:11:55.78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, Symela" userId="066f9c13-bded-4ea3-b574-0743c05d4534" providerId="ADAL" clId="{34F3D6C5-ED7C-42F8-A166-914CCA3106A1}"/>
    <pc:docChg chg="custSel addSld delSld modSld sldOrd modMainMaster">
      <pc:chgData name="Micha, Symela" userId="066f9c13-bded-4ea3-b574-0743c05d4534" providerId="ADAL" clId="{34F3D6C5-ED7C-42F8-A166-914CCA3106A1}" dt="2020-01-28T13:11:55.780" v="1703"/>
      <pc:docMkLst>
        <pc:docMk/>
      </pc:docMkLst>
      <pc:sldChg chg="addSp modSp">
        <pc:chgData name="Micha, Symela" userId="066f9c13-bded-4ea3-b574-0743c05d4534" providerId="ADAL" clId="{34F3D6C5-ED7C-42F8-A166-914CCA3106A1}" dt="2020-01-28T12:37:10.359" v="225" actId="20577"/>
        <pc:sldMkLst>
          <pc:docMk/>
          <pc:sldMk cId="480488243" sldId="256"/>
        </pc:sldMkLst>
        <pc:spChg chg="mod ord">
          <ac:chgData name="Micha, Symela" userId="066f9c13-bded-4ea3-b574-0743c05d4534" providerId="ADAL" clId="{34F3D6C5-ED7C-42F8-A166-914CCA3106A1}" dt="2020-01-28T12:36:59.031" v="199" actId="20577"/>
          <ac:spMkLst>
            <pc:docMk/>
            <pc:sldMk cId="480488243" sldId="256"/>
            <ac:spMk id="2" creationId="{C4CACE76-4532-4A94-A95B-B08F4A658427}"/>
          </ac:spMkLst>
        </pc:spChg>
        <pc:spChg chg="mod ord">
          <ac:chgData name="Micha, Symela" userId="066f9c13-bded-4ea3-b574-0743c05d4534" providerId="ADAL" clId="{34F3D6C5-ED7C-42F8-A166-914CCA3106A1}" dt="2020-01-28T12:37:10.359" v="225" actId="20577"/>
          <ac:spMkLst>
            <pc:docMk/>
            <pc:sldMk cId="480488243" sldId="256"/>
            <ac:spMk id="3" creationId="{27F97697-AE67-4729-9166-1212E3B28357}"/>
          </ac:spMkLst>
        </pc:spChg>
        <pc:spChg chg="add mod ord modVis">
          <ac:chgData name="Micha, Symela" userId="066f9c13-bded-4ea3-b574-0743c05d4534" providerId="ADAL" clId="{34F3D6C5-ED7C-42F8-A166-914CCA3106A1}" dt="2020-01-28T12:36:51.245" v="81"/>
          <ac:spMkLst>
            <pc:docMk/>
            <pc:sldMk cId="480488243" sldId="256"/>
            <ac:spMk id="4" creationId="{80FDCD4F-616F-4B5A-A731-816FD090F0B3}"/>
          </ac:spMkLst>
        </pc:spChg>
        <pc:graphicFrameChg chg="add mod ord modVis">
          <ac:chgData name="Micha, Symela" userId="066f9c13-bded-4ea3-b574-0743c05d4534" providerId="ADAL" clId="{34F3D6C5-ED7C-42F8-A166-914CCA3106A1}" dt="2020-01-28T12:36:59.276" v="201"/>
          <ac:graphicFrameMkLst>
            <pc:docMk/>
            <pc:sldMk cId="480488243" sldId="256"/>
            <ac:graphicFrameMk id="5" creationId="{9CA21E1F-4CFD-4008-8A0E-DDD32ED2A34A}"/>
          </ac:graphicFrameMkLst>
        </pc:graphicFrameChg>
      </pc:sldChg>
      <pc:sldChg chg="addSp modSp">
        <pc:chgData name="Micha, Symela" userId="066f9c13-bded-4ea3-b574-0743c05d4534" providerId="ADAL" clId="{34F3D6C5-ED7C-42F8-A166-914CCA3106A1}" dt="2020-01-28T13:11:09.383" v="1611" actId="1076"/>
        <pc:sldMkLst>
          <pc:docMk/>
          <pc:sldMk cId="2861432359" sldId="257"/>
        </pc:sldMkLst>
        <pc:spChg chg="mod">
          <ac:chgData name="Micha, Symela" userId="066f9c13-bded-4ea3-b574-0743c05d4534" providerId="ADAL" clId="{34F3D6C5-ED7C-42F8-A166-914CCA3106A1}" dt="2020-01-28T12:37:27.897" v="238" actId="20577"/>
          <ac:spMkLst>
            <pc:docMk/>
            <pc:sldMk cId="2861432359" sldId="257"/>
            <ac:spMk id="2" creationId="{A5576798-0ED3-4F8C-B3F7-9C107C8DC813}"/>
          </ac:spMkLst>
        </pc:spChg>
        <pc:spChg chg="mod">
          <ac:chgData name="Micha, Symela" userId="066f9c13-bded-4ea3-b574-0743c05d4534" providerId="ADAL" clId="{34F3D6C5-ED7C-42F8-A166-914CCA3106A1}" dt="2020-01-28T12:52:31.578" v="526" actId="20577"/>
          <ac:spMkLst>
            <pc:docMk/>
            <pc:sldMk cId="2861432359" sldId="257"/>
            <ac:spMk id="3" creationId="{59A640C6-8E92-4029-AB4B-1F8A7E39A0DF}"/>
          </ac:spMkLst>
        </pc:spChg>
        <pc:graphicFrameChg chg="add mod ord modVis">
          <ac:chgData name="Micha, Symela" userId="066f9c13-bded-4ea3-b574-0743c05d4534" providerId="ADAL" clId="{34F3D6C5-ED7C-42F8-A166-914CCA3106A1}" dt="2020-01-28T12:37:28.417" v="240"/>
          <ac:graphicFrameMkLst>
            <pc:docMk/>
            <pc:sldMk cId="2861432359" sldId="257"/>
            <ac:graphicFrameMk id="4" creationId="{7F2F9AD4-0F37-49D2-8DA8-2C5E5E96C6E7}"/>
          </ac:graphicFrameMkLst>
        </pc:graphicFrameChg>
        <pc:picChg chg="add mod">
          <ac:chgData name="Micha, Symela" userId="066f9c13-bded-4ea3-b574-0743c05d4534" providerId="ADAL" clId="{34F3D6C5-ED7C-42F8-A166-914CCA3106A1}" dt="2020-01-28T13:11:09.383" v="1611" actId="1076"/>
          <ac:picMkLst>
            <pc:docMk/>
            <pc:sldMk cId="2861432359" sldId="257"/>
            <ac:picMk id="5" creationId="{AAB424C9-E94A-4638-BD25-3C2531CB221A}"/>
          </ac:picMkLst>
        </pc:picChg>
      </pc:sldChg>
      <pc:sldChg chg="addSp delSp modSp del">
        <pc:chgData name="Micha, Symela" userId="066f9c13-bded-4ea3-b574-0743c05d4534" providerId="ADAL" clId="{34F3D6C5-ED7C-42F8-A166-914CCA3106A1}" dt="2020-01-28T12:46:21.420" v="358" actId="2696"/>
        <pc:sldMkLst>
          <pc:docMk/>
          <pc:sldMk cId="2503772067" sldId="258"/>
        </pc:sldMkLst>
        <pc:spChg chg="del">
          <ac:chgData name="Micha, Symela" userId="066f9c13-bded-4ea3-b574-0743c05d4534" providerId="ADAL" clId="{34F3D6C5-ED7C-42F8-A166-914CCA3106A1}" dt="2020-01-28T12:46:17.548" v="357" actId="478"/>
          <ac:spMkLst>
            <pc:docMk/>
            <pc:sldMk cId="2503772067" sldId="258"/>
            <ac:spMk id="3" creationId="{1D94F5E6-F7F8-44FF-9A4F-EBBBED9743E9}"/>
          </ac:spMkLst>
        </pc:spChg>
        <pc:spChg chg="add mod">
          <ac:chgData name="Micha, Symela" userId="066f9c13-bded-4ea3-b574-0743c05d4534" providerId="ADAL" clId="{34F3D6C5-ED7C-42F8-A166-914CCA3106A1}" dt="2020-01-28T12:46:17.548" v="357" actId="478"/>
          <ac:spMkLst>
            <pc:docMk/>
            <pc:sldMk cId="2503772067" sldId="258"/>
            <ac:spMk id="6" creationId="{8E7EA8A0-EE43-41BC-B718-988BD9C68159}"/>
          </ac:spMkLst>
        </pc:spChg>
        <pc:graphicFrameChg chg="add mod ord modVis">
          <ac:chgData name="Micha, Symela" userId="066f9c13-bded-4ea3-b574-0743c05d4534" providerId="ADAL" clId="{34F3D6C5-ED7C-42F8-A166-914CCA3106A1}" dt="2020-01-28T12:36:51.352" v="175"/>
          <ac:graphicFrameMkLst>
            <pc:docMk/>
            <pc:sldMk cId="2503772067" sldId="258"/>
            <ac:graphicFrameMk id="4" creationId="{3388BBDA-80E8-4906-873A-C12D24B7B7DE}"/>
          </ac:graphicFrameMkLst>
        </pc:graphicFrameChg>
      </pc:sldChg>
      <pc:sldChg chg="addSp modSp del">
        <pc:chgData name="Micha, Symela" userId="066f9c13-bded-4ea3-b574-0743c05d4534" providerId="ADAL" clId="{34F3D6C5-ED7C-42F8-A166-914CCA3106A1}" dt="2020-01-28T12:50:47.970" v="514" actId="2696"/>
        <pc:sldMkLst>
          <pc:docMk/>
          <pc:sldMk cId="3743249002" sldId="259"/>
        </pc:sldMkLst>
        <pc:graphicFrameChg chg="add mod ord modVis">
          <ac:chgData name="Micha, Symela" userId="066f9c13-bded-4ea3-b574-0743c05d4534" providerId="ADAL" clId="{34F3D6C5-ED7C-42F8-A166-914CCA3106A1}" dt="2020-01-28T12:36:51.336" v="160"/>
          <ac:graphicFrameMkLst>
            <pc:docMk/>
            <pc:sldMk cId="3743249002" sldId="259"/>
            <ac:graphicFrameMk id="4" creationId="{3D269BBC-B9DC-4042-A989-10DD7C832CE3}"/>
          </ac:graphicFrameMkLst>
        </pc:graphicFrameChg>
      </pc:sldChg>
      <pc:sldChg chg="addSp modSp ord">
        <pc:chgData name="Micha, Symela" userId="066f9c13-bded-4ea3-b574-0743c05d4534" providerId="ADAL" clId="{34F3D6C5-ED7C-42F8-A166-914CCA3106A1}" dt="2020-01-28T13:10:12.811" v="1608" actId="20577"/>
        <pc:sldMkLst>
          <pc:docMk/>
          <pc:sldMk cId="3127583367" sldId="260"/>
        </pc:sldMkLst>
        <pc:spChg chg="mod">
          <ac:chgData name="Micha, Symela" userId="066f9c13-bded-4ea3-b574-0743c05d4534" providerId="ADAL" clId="{34F3D6C5-ED7C-42F8-A166-914CCA3106A1}" dt="2020-01-28T13:10:12.811" v="1608" actId="20577"/>
          <ac:spMkLst>
            <pc:docMk/>
            <pc:sldMk cId="3127583367" sldId="260"/>
            <ac:spMk id="3" creationId="{78BDDC58-3177-4482-83F5-30C27B3E977B}"/>
          </ac:spMkLst>
        </pc:spChg>
        <pc:graphicFrameChg chg="add mod ord modVis">
          <ac:chgData name="Micha, Symela" userId="066f9c13-bded-4ea3-b574-0743c05d4534" providerId="ADAL" clId="{34F3D6C5-ED7C-42F8-A166-914CCA3106A1}" dt="2020-01-28T12:36:51.305" v="130"/>
          <ac:graphicFrameMkLst>
            <pc:docMk/>
            <pc:sldMk cId="3127583367" sldId="260"/>
            <ac:graphicFrameMk id="4" creationId="{26D48673-ED83-4304-8270-D4B4C68C130B}"/>
          </ac:graphicFrameMkLst>
        </pc:graphicFrameChg>
        <pc:graphicFrameChg chg="add mod modGraphic">
          <ac:chgData name="Micha, Symela" userId="066f9c13-bded-4ea3-b574-0743c05d4534" providerId="ADAL" clId="{34F3D6C5-ED7C-42F8-A166-914CCA3106A1}" dt="2020-01-28T13:09:39.156" v="1574" actId="1076"/>
          <ac:graphicFrameMkLst>
            <pc:docMk/>
            <pc:sldMk cId="3127583367" sldId="260"/>
            <ac:graphicFrameMk id="5" creationId="{FCFF26E6-59FC-430E-8F78-7E82452F7BC9}"/>
          </ac:graphicFrameMkLst>
        </pc:graphicFrameChg>
      </pc:sldChg>
      <pc:sldChg chg="addSp modSp">
        <pc:chgData name="Micha, Symela" userId="066f9c13-bded-4ea3-b574-0743c05d4534" providerId="ADAL" clId="{34F3D6C5-ED7C-42F8-A166-914CCA3106A1}" dt="2020-01-28T13:11:25.424" v="1615" actId="14100"/>
        <pc:sldMkLst>
          <pc:docMk/>
          <pc:sldMk cId="648234962" sldId="261"/>
        </pc:sldMkLst>
        <pc:spChg chg="mod">
          <ac:chgData name="Micha, Symela" userId="066f9c13-bded-4ea3-b574-0743c05d4534" providerId="ADAL" clId="{34F3D6C5-ED7C-42F8-A166-914CCA3106A1}" dt="2020-01-28T13:00:31.665" v="1453" actId="20577"/>
          <ac:spMkLst>
            <pc:docMk/>
            <pc:sldMk cId="648234962" sldId="261"/>
            <ac:spMk id="3" creationId="{D59B18D8-A8C2-4BAC-A540-76221EF41F1C}"/>
          </ac:spMkLst>
        </pc:spChg>
        <pc:graphicFrameChg chg="add mod ord modVis">
          <ac:chgData name="Micha, Symela" userId="066f9c13-bded-4ea3-b574-0743c05d4534" providerId="ADAL" clId="{34F3D6C5-ED7C-42F8-A166-914CCA3106A1}" dt="2020-01-28T12:36:51.320" v="145"/>
          <ac:graphicFrameMkLst>
            <pc:docMk/>
            <pc:sldMk cId="648234962" sldId="261"/>
            <ac:graphicFrameMk id="4" creationId="{E6F1C45A-A401-49A7-940F-D08BDBA3B4A7}"/>
          </ac:graphicFrameMkLst>
        </pc:graphicFrameChg>
        <pc:picChg chg="add mod">
          <ac:chgData name="Micha, Symela" userId="066f9c13-bded-4ea3-b574-0743c05d4534" providerId="ADAL" clId="{34F3D6C5-ED7C-42F8-A166-914CCA3106A1}" dt="2020-01-28T13:07:11.630" v="1543" actId="1076"/>
          <ac:picMkLst>
            <pc:docMk/>
            <pc:sldMk cId="648234962" sldId="261"/>
            <ac:picMk id="5" creationId="{E66C6735-1DD5-449C-A25C-7ED71C4418EA}"/>
          </ac:picMkLst>
        </pc:picChg>
        <pc:picChg chg="add mod">
          <ac:chgData name="Micha, Symela" userId="066f9c13-bded-4ea3-b574-0743c05d4534" providerId="ADAL" clId="{34F3D6C5-ED7C-42F8-A166-914CCA3106A1}" dt="2020-01-28T13:11:25.424" v="1615" actId="14100"/>
          <ac:picMkLst>
            <pc:docMk/>
            <pc:sldMk cId="648234962" sldId="261"/>
            <ac:picMk id="6" creationId="{81E6CA86-D184-444A-A303-F552596A2EE2}"/>
          </ac:picMkLst>
        </pc:picChg>
      </pc:sldChg>
      <pc:sldChg chg="add del">
        <pc:chgData name="Micha, Symela" userId="066f9c13-bded-4ea3-b574-0743c05d4534" providerId="ADAL" clId="{34F3D6C5-ED7C-42F8-A166-914CCA3106A1}" dt="2020-01-28T12:37:20.418" v="227" actId="2696"/>
        <pc:sldMkLst>
          <pc:docMk/>
          <pc:sldMk cId="315800190" sldId="262"/>
        </pc:sldMkLst>
      </pc:sldChg>
      <pc:sldChg chg="addSp modSp add">
        <pc:chgData name="Micha, Symela" userId="066f9c13-bded-4ea3-b574-0743c05d4534" providerId="ADAL" clId="{34F3D6C5-ED7C-42F8-A166-914CCA3106A1}" dt="2020-01-28T12:45:18.625" v="344" actId="14100"/>
        <pc:sldMkLst>
          <pc:docMk/>
          <pc:sldMk cId="2384138718" sldId="262"/>
        </pc:sldMkLst>
        <pc:spChg chg="mod">
          <ac:chgData name="Micha, Symela" userId="066f9c13-bded-4ea3-b574-0743c05d4534" providerId="ADAL" clId="{34F3D6C5-ED7C-42F8-A166-914CCA3106A1}" dt="2020-01-28T12:43:25.175" v="330" actId="6549"/>
          <ac:spMkLst>
            <pc:docMk/>
            <pc:sldMk cId="2384138718" sldId="262"/>
            <ac:spMk id="3" creationId="{59A640C6-8E92-4029-AB4B-1F8A7E39A0DF}"/>
          </ac:spMkLst>
        </pc:spChg>
        <pc:spChg chg="add mod">
          <ac:chgData name="Micha, Symela" userId="066f9c13-bded-4ea3-b574-0743c05d4534" providerId="ADAL" clId="{34F3D6C5-ED7C-42F8-A166-914CCA3106A1}" dt="2020-01-28T12:43:38.849" v="332" actId="11529"/>
          <ac:spMkLst>
            <pc:docMk/>
            <pc:sldMk cId="2384138718" sldId="262"/>
            <ac:spMk id="6" creationId="{D68844FB-C05F-41FB-865C-F530647A1DB5}"/>
          </ac:spMkLst>
        </pc:spChg>
        <pc:picChg chg="add mod">
          <ac:chgData name="Micha, Symela" userId="066f9c13-bded-4ea3-b574-0743c05d4534" providerId="ADAL" clId="{34F3D6C5-ED7C-42F8-A166-914CCA3106A1}" dt="2020-01-28T12:43:29.648" v="331" actId="1076"/>
          <ac:picMkLst>
            <pc:docMk/>
            <pc:sldMk cId="2384138718" sldId="262"/>
            <ac:picMk id="5" creationId="{9BB7D7BD-5D64-4C50-B26F-121B8D98AFA4}"/>
          </ac:picMkLst>
        </pc:picChg>
        <pc:picChg chg="add mod">
          <ac:chgData name="Micha, Symela" userId="066f9c13-bded-4ea3-b574-0743c05d4534" providerId="ADAL" clId="{34F3D6C5-ED7C-42F8-A166-914CCA3106A1}" dt="2020-01-28T12:44:55.104" v="339" actId="1076"/>
          <ac:picMkLst>
            <pc:docMk/>
            <pc:sldMk cId="2384138718" sldId="262"/>
            <ac:picMk id="7" creationId="{35AD1332-DDAD-41FA-B43E-59B70A0227EF}"/>
          </ac:picMkLst>
        </pc:picChg>
        <pc:picChg chg="add mod">
          <ac:chgData name="Micha, Symela" userId="066f9c13-bded-4ea3-b574-0743c05d4534" providerId="ADAL" clId="{34F3D6C5-ED7C-42F8-A166-914CCA3106A1}" dt="2020-01-28T12:44:56.873" v="340" actId="1076"/>
          <ac:picMkLst>
            <pc:docMk/>
            <pc:sldMk cId="2384138718" sldId="262"/>
            <ac:picMk id="9" creationId="{D8CFA8B6-772F-4728-9D70-052E327BAA21}"/>
          </ac:picMkLst>
        </pc:picChg>
        <pc:picChg chg="add mod">
          <ac:chgData name="Micha, Symela" userId="066f9c13-bded-4ea3-b574-0743c05d4534" providerId="ADAL" clId="{34F3D6C5-ED7C-42F8-A166-914CCA3106A1}" dt="2020-01-28T12:45:18.625" v="344" actId="14100"/>
          <ac:picMkLst>
            <pc:docMk/>
            <pc:sldMk cId="2384138718" sldId="262"/>
            <ac:picMk id="11" creationId="{8D496B7A-8D9C-4DAD-8036-ABF55D52288C}"/>
          </ac:picMkLst>
        </pc:picChg>
      </pc:sldChg>
      <pc:sldChg chg="addSp delSp modSp add">
        <pc:chgData name="Micha, Symela" userId="066f9c13-bded-4ea3-b574-0743c05d4534" providerId="ADAL" clId="{34F3D6C5-ED7C-42F8-A166-914CCA3106A1}" dt="2020-01-28T12:50:29.760" v="499" actId="6549"/>
        <pc:sldMkLst>
          <pc:docMk/>
          <pc:sldMk cId="704469775" sldId="263"/>
        </pc:sldMkLst>
        <pc:spChg chg="mod">
          <ac:chgData name="Micha, Symela" userId="066f9c13-bded-4ea3-b574-0743c05d4534" providerId="ADAL" clId="{34F3D6C5-ED7C-42F8-A166-914CCA3106A1}" dt="2020-01-28T12:46:02.856" v="349" actId="20577"/>
          <ac:spMkLst>
            <pc:docMk/>
            <pc:sldMk cId="704469775" sldId="263"/>
            <ac:spMk id="2" creationId="{A5576798-0ED3-4F8C-B3F7-9C107C8DC813}"/>
          </ac:spMkLst>
        </pc:spChg>
        <pc:spChg chg="mod">
          <ac:chgData name="Micha, Symela" userId="066f9c13-bded-4ea3-b574-0743c05d4534" providerId="ADAL" clId="{34F3D6C5-ED7C-42F8-A166-914CCA3106A1}" dt="2020-01-28T12:50:04.901" v="495" actId="20577"/>
          <ac:spMkLst>
            <pc:docMk/>
            <pc:sldMk cId="704469775" sldId="263"/>
            <ac:spMk id="3" creationId="{59A640C6-8E92-4029-AB4B-1F8A7E39A0DF}"/>
          </ac:spMkLst>
        </pc:spChg>
        <pc:spChg chg="del">
          <ac:chgData name="Micha, Symela" userId="066f9c13-bded-4ea3-b574-0743c05d4534" providerId="ADAL" clId="{34F3D6C5-ED7C-42F8-A166-914CCA3106A1}" dt="2020-01-28T12:46:07.744" v="353" actId="478"/>
          <ac:spMkLst>
            <pc:docMk/>
            <pc:sldMk cId="704469775" sldId="263"/>
            <ac:spMk id="6" creationId="{D68844FB-C05F-41FB-865C-F530647A1DB5}"/>
          </ac:spMkLst>
        </pc:spChg>
        <pc:graphicFrameChg chg="mod">
          <ac:chgData name="Micha, Symela" userId="066f9c13-bded-4ea3-b574-0743c05d4534" providerId="ADAL" clId="{34F3D6C5-ED7C-42F8-A166-914CCA3106A1}" dt="2020-01-28T12:46:03.387" v="351"/>
          <ac:graphicFrameMkLst>
            <pc:docMk/>
            <pc:sldMk cId="704469775" sldId="263"/>
            <ac:graphicFrameMk id="4" creationId="{7F2F9AD4-0F37-49D2-8DA8-2C5E5E96C6E7}"/>
          </ac:graphicFrameMkLst>
        </pc:graphicFrameChg>
        <pc:graphicFrameChg chg="add mod modGraphic">
          <ac:chgData name="Micha, Symela" userId="066f9c13-bded-4ea3-b574-0743c05d4534" providerId="ADAL" clId="{34F3D6C5-ED7C-42F8-A166-914CCA3106A1}" dt="2020-01-28T12:50:29.760" v="499" actId="6549"/>
          <ac:graphicFrameMkLst>
            <pc:docMk/>
            <pc:sldMk cId="704469775" sldId="263"/>
            <ac:graphicFrameMk id="10" creationId="{D69D7F68-2B2B-4682-97ED-DC2AD1B21F88}"/>
          </ac:graphicFrameMkLst>
        </pc:graphicFrameChg>
        <pc:picChg chg="del">
          <ac:chgData name="Micha, Symela" userId="066f9c13-bded-4ea3-b574-0743c05d4534" providerId="ADAL" clId="{34F3D6C5-ED7C-42F8-A166-914CCA3106A1}" dt="2020-01-28T12:46:06.721" v="352" actId="478"/>
          <ac:picMkLst>
            <pc:docMk/>
            <pc:sldMk cId="704469775" sldId="263"/>
            <ac:picMk id="5" creationId="{9BB7D7BD-5D64-4C50-B26F-121B8D98AFA4}"/>
          </ac:picMkLst>
        </pc:picChg>
        <pc:picChg chg="del">
          <ac:chgData name="Micha, Symela" userId="066f9c13-bded-4ea3-b574-0743c05d4534" providerId="ADAL" clId="{34F3D6C5-ED7C-42F8-A166-914CCA3106A1}" dt="2020-01-28T12:46:08.441" v="354" actId="478"/>
          <ac:picMkLst>
            <pc:docMk/>
            <pc:sldMk cId="704469775" sldId="263"/>
            <ac:picMk id="7" creationId="{35AD1332-DDAD-41FA-B43E-59B70A0227EF}"/>
          </ac:picMkLst>
        </pc:picChg>
        <pc:picChg chg="add mod">
          <ac:chgData name="Micha, Symela" userId="066f9c13-bded-4ea3-b574-0743c05d4534" providerId="ADAL" clId="{34F3D6C5-ED7C-42F8-A166-914CCA3106A1}" dt="2020-01-28T12:48:39.138" v="440" actId="1076"/>
          <ac:picMkLst>
            <pc:docMk/>
            <pc:sldMk cId="704469775" sldId="263"/>
            <ac:picMk id="8" creationId="{86ECA21B-B10A-4EAD-B029-75A979AC8D78}"/>
          </ac:picMkLst>
        </pc:picChg>
        <pc:picChg chg="del">
          <ac:chgData name="Micha, Symela" userId="066f9c13-bded-4ea3-b574-0743c05d4534" providerId="ADAL" clId="{34F3D6C5-ED7C-42F8-A166-914CCA3106A1}" dt="2020-01-28T12:46:09.034" v="355" actId="478"/>
          <ac:picMkLst>
            <pc:docMk/>
            <pc:sldMk cId="704469775" sldId="263"/>
            <ac:picMk id="9" creationId="{D8CFA8B6-772F-4728-9D70-052E327BAA21}"/>
          </ac:picMkLst>
        </pc:picChg>
        <pc:picChg chg="del">
          <ac:chgData name="Micha, Symela" userId="066f9c13-bded-4ea3-b574-0743c05d4534" providerId="ADAL" clId="{34F3D6C5-ED7C-42F8-A166-914CCA3106A1}" dt="2020-01-28T12:46:09.657" v="356" actId="478"/>
          <ac:picMkLst>
            <pc:docMk/>
            <pc:sldMk cId="704469775" sldId="263"/>
            <ac:picMk id="11" creationId="{8D496B7A-8D9C-4DAD-8036-ABF55D52288C}"/>
          </ac:picMkLst>
        </pc:picChg>
      </pc:sldChg>
      <pc:sldChg chg="addSp delSp modSp add">
        <pc:chgData name="Micha, Symela" userId="066f9c13-bded-4ea3-b574-0743c05d4534" providerId="ADAL" clId="{34F3D6C5-ED7C-42F8-A166-914CCA3106A1}" dt="2020-01-28T12:58:03.657" v="1121" actId="20577"/>
        <pc:sldMkLst>
          <pc:docMk/>
          <pc:sldMk cId="2437722288" sldId="264"/>
        </pc:sldMkLst>
        <pc:spChg chg="mod ord">
          <ac:chgData name="Micha, Symela" userId="066f9c13-bded-4ea3-b574-0743c05d4534" providerId="ADAL" clId="{34F3D6C5-ED7C-42F8-A166-914CCA3106A1}" dt="2020-01-28T12:52:38.740" v="579"/>
          <ac:spMkLst>
            <pc:docMk/>
            <pc:sldMk cId="2437722288" sldId="264"/>
            <ac:spMk id="2" creationId="{A5576798-0ED3-4F8C-B3F7-9C107C8DC813}"/>
          </ac:spMkLst>
        </pc:spChg>
        <pc:spChg chg="mod ord">
          <ac:chgData name="Micha, Symela" userId="066f9c13-bded-4ea3-b574-0743c05d4534" providerId="ADAL" clId="{34F3D6C5-ED7C-42F8-A166-914CCA3106A1}" dt="2020-01-28T12:58:03.657" v="1121" actId="20577"/>
          <ac:spMkLst>
            <pc:docMk/>
            <pc:sldMk cId="2437722288" sldId="264"/>
            <ac:spMk id="3" creationId="{59A640C6-8E92-4029-AB4B-1F8A7E39A0DF}"/>
          </ac:spMkLst>
        </pc:spChg>
        <pc:spChg chg="add mod ord modVis">
          <ac:chgData name="Micha, Symela" userId="066f9c13-bded-4ea3-b574-0743c05d4534" providerId="ADAL" clId="{34F3D6C5-ED7C-42F8-A166-914CCA3106A1}" dt="2020-01-28T12:52:38.739" v="577"/>
          <ac:spMkLst>
            <pc:docMk/>
            <pc:sldMk cId="2437722288" sldId="264"/>
            <ac:spMk id="5" creationId="{55720FEE-125E-422D-8596-791EFA462663}"/>
          </ac:spMkLst>
        </pc:spChg>
        <pc:graphicFrameChg chg="mod ord">
          <ac:chgData name="Micha, Symela" userId="066f9c13-bded-4ea3-b574-0743c05d4534" providerId="ADAL" clId="{34F3D6C5-ED7C-42F8-A166-914CCA3106A1}" dt="2020-01-28T12:52:38.742" v="583"/>
          <ac:graphicFrameMkLst>
            <pc:docMk/>
            <pc:sldMk cId="2437722288" sldId="264"/>
            <ac:graphicFrameMk id="4" creationId="{7F2F9AD4-0F37-49D2-8DA8-2C5E5E96C6E7}"/>
          </ac:graphicFrameMkLst>
        </pc:graphicFrameChg>
        <pc:graphicFrameChg chg="del">
          <ac:chgData name="Micha, Symela" userId="066f9c13-bded-4ea3-b574-0743c05d4534" providerId="ADAL" clId="{34F3D6C5-ED7C-42F8-A166-914CCA3106A1}" dt="2020-01-28T12:52:13.007" v="517" actId="478"/>
          <ac:graphicFrameMkLst>
            <pc:docMk/>
            <pc:sldMk cId="2437722288" sldId="264"/>
            <ac:graphicFrameMk id="10" creationId="{D69D7F68-2B2B-4682-97ED-DC2AD1B21F88}"/>
          </ac:graphicFrameMkLst>
        </pc:graphicFrameChg>
        <pc:picChg chg="del">
          <ac:chgData name="Micha, Symela" userId="066f9c13-bded-4ea3-b574-0743c05d4534" providerId="ADAL" clId="{34F3D6C5-ED7C-42F8-A166-914CCA3106A1}" dt="2020-01-28T12:50:56.362" v="515" actId="478"/>
          <ac:picMkLst>
            <pc:docMk/>
            <pc:sldMk cId="2437722288" sldId="264"/>
            <ac:picMk id="8" creationId="{86ECA21B-B10A-4EAD-B029-75A979AC8D78}"/>
          </ac:picMkLst>
        </pc:picChg>
      </pc:sldChg>
      <pc:sldChg chg="addSp modSp add">
        <pc:chgData name="Micha, Symela" userId="066f9c13-bded-4ea3-b574-0743c05d4534" providerId="ADAL" clId="{34F3D6C5-ED7C-42F8-A166-914CCA3106A1}" dt="2020-01-28T13:10:06.476" v="1592" actId="20577"/>
        <pc:sldMkLst>
          <pc:docMk/>
          <pc:sldMk cId="632196197" sldId="265"/>
        </pc:sldMkLst>
        <pc:spChg chg="mod">
          <ac:chgData name="Micha, Symela" userId="066f9c13-bded-4ea3-b574-0743c05d4534" providerId="ADAL" clId="{34F3D6C5-ED7C-42F8-A166-914CCA3106A1}" dt="2020-01-28T13:10:06.476" v="1592" actId="20577"/>
          <ac:spMkLst>
            <pc:docMk/>
            <pc:sldMk cId="632196197" sldId="265"/>
            <ac:spMk id="3" creationId="{78BDDC58-3177-4482-83F5-30C27B3E977B}"/>
          </ac:spMkLst>
        </pc:spChg>
        <pc:graphicFrameChg chg="add mod modGraphic">
          <ac:chgData name="Micha, Symela" userId="066f9c13-bded-4ea3-b574-0743c05d4534" providerId="ADAL" clId="{34F3D6C5-ED7C-42F8-A166-914CCA3106A1}" dt="2020-01-28T13:05:53.948" v="1538" actId="1076"/>
          <ac:graphicFrameMkLst>
            <pc:docMk/>
            <pc:sldMk cId="632196197" sldId="265"/>
            <ac:graphicFrameMk id="5" creationId="{6363A9E2-9CB4-415B-AAB1-50F0D1B6BE85}"/>
          </ac:graphicFrameMkLst>
        </pc:graphicFrameChg>
        <pc:graphicFrameChg chg="add mod modGraphic">
          <ac:chgData name="Micha, Symela" userId="066f9c13-bded-4ea3-b574-0743c05d4534" providerId="ADAL" clId="{34F3D6C5-ED7C-42F8-A166-914CCA3106A1}" dt="2020-01-28T13:06:01.180" v="1540" actId="14100"/>
          <ac:graphicFrameMkLst>
            <pc:docMk/>
            <pc:sldMk cId="632196197" sldId="265"/>
            <ac:graphicFrameMk id="6" creationId="{D0A8CF97-BCA8-4216-BD2A-7A691B2B432D}"/>
          </ac:graphicFrameMkLst>
        </pc:graphicFrameChg>
      </pc:sldChg>
      <pc:sldChg chg="addSp delSp modSp add">
        <pc:chgData name="Micha, Symela" userId="066f9c13-bded-4ea3-b574-0743c05d4534" providerId="ADAL" clId="{34F3D6C5-ED7C-42F8-A166-914CCA3106A1}" dt="2020-01-28T13:11:55.780" v="1703"/>
        <pc:sldMkLst>
          <pc:docMk/>
          <pc:sldMk cId="1122814686" sldId="266"/>
        </pc:sldMkLst>
        <pc:spChg chg="mod ord">
          <ac:chgData name="Micha, Symela" userId="066f9c13-bded-4ea3-b574-0743c05d4534" providerId="ADAL" clId="{34F3D6C5-ED7C-42F8-A166-914CCA3106A1}" dt="2020-01-28T13:11:55.265" v="1701" actId="20577"/>
          <ac:spMkLst>
            <pc:docMk/>
            <pc:sldMk cId="1122814686" sldId="266"/>
            <ac:spMk id="2" creationId="{8926A27A-1222-48F2-A3F3-4FAA89171240}"/>
          </ac:spMkLst>
        </pc:spChg>
        <pc:spChg chg="mod ord">
          <ac:chgData name="Micha, Symela" userId="066f9c13-bded-4ea3-b574-0743c05d4534" providerId="ADAL" clId="{34F3D6C5-ED7C-42F8-A166-914CCA3106A1}" dt="2020-01-28T13:11:49.420" v="1690"/>
          <ac:spMkLst>
            <pc:docMk/>
            <pc:sldMk cId="1122814686" sldId="266"/>
            <ac:spMk id="3" creationId="{D55CD8E2-A797-4056-AF75-1D50E5D9932C}"/>
          </ac:spMkLst>
        </pc:spChg>
        <pc:spChg chg="del mod ord">
          <ac:chgData name="Micha, Symela" userId="066f9c13-bded-4ea3-b574-0743c05d4534" providerId="ADAL" clId="{34F3D6C5-ED7C-42F8-A166-914CCA3106A1}" dt="2020-01-28T13:11:52.967" v="1700" actId="478"/>
          <ac:spMkLst>
            <pc:docMk/>
            <pc:sldMk cId="1122814686" sldId="266"/>
            <ac:spMk id="4" creationId="{CFA0A2F7-8011-4C65-9937-376B1574D57C}"/>
          </ac:spMkLst>
        </pc:spChg>
        <pc:spChg chg="add mod ord modVis">
          <ac:chgData name="Micha, Symela" userId="066f9c13-bded-4ea3-b574-0743c05d4534" providerId="ADAL" clId="{34F3D6C5-ED7C-42F8-A166-914CCA3106A1}" dt="2020-01-28T13:11:49.418" v="1686"/>
          <ac:spMkLst>
            <pc:docMk/>
            <pc:sldMk cId="1122814686" sldId="266"/>
            <ac:spMk id="6" creationId="{147C0FA2-E3F1-4CCD-8FD8-EB3C4AF7E3F2}"/>
          </ac:spMkLst>
        </pc:spChg>
        <pc:graphicFrameChg chg="add mod ord modVis">
          <ac:chgData name="Micha, Symela" userId="066f9c13-bded-4ea3-b574-0743c05d4534" providerId="ADAL" clId="{34F3D6C5-ED7C-42F8-A166-914CCA3106A1}" dt="2020-01-28T13:11:55.780" v="1703"/>
          <ac:graphicFrameMkLst>
            <pc:docMk/>
            <pc:sldMk cId="1122814686" sldId="266"/>
            <ac:graphicFrameMk id="5" creationId="{45956396-85FA-47FE-ACB8-365D920CD150}"/>
          </ac:graphicFrameMkLst>
        </pc:graphicFrameChg>
      </pc:sldChg>
      <pc:sldMasterChg chg="modSp">
        <pc:chgData name="Micha, Symela" userId="066f9c13-bded-4ea3-b574-0743c05d4534" providerId="ADAL" clId="{34F3D6C5-ED7C-42F8-A166-914CCA3106A1}" dt="2020-01-28T12:36:51.077" v="50" actId="20577"/>
        <pc:sldMasterMkLst>
          <pc:docMk/>
          <pc:sldMasterMk cId="2647658230" sldId="2147483660"/>
        </pc:sldMasterMkLst>
        <pc:spChg chg="mod">
          <ac:chgData name="Micha, Symela" userId="066f9c13-bded-4ea3-b574-0743c05d4534" providerId="ADAL" clId="{34F3D6C5-ED7C-42F8-A166-914CCA3106A1}" dt="2020-01-28T12:36:51.071" v="49" actId="20577"/>
          <ac:spMkLst>
            <pc:docMk/>
            <pc:sldMasterMk cId="2647658230" sldId="2147483660"/>
            <ac:spMk id="7" creationId="{00000000-0000-0000-0000-000000000000}"/>
          </ac:spMkLst>
        </pc:spChg>
        <pc:spChg chg="mod">
          <ac:chgData name="Micha, Symela" userId="066f9c13-bded-4ea3-b574-0743c05d4534" providerId="ADAL" clId="{34F3D6C5-ED7C-42F8-A166-914CCA3106A1}" dt="2020-01-28T12:36:51.077" v="50" actId="20577"/>
          <ac:spMkLst>
            <pc:docMk/>
            <pc:sldMasterMk cId="2647658230" sldId="2147483660"/>
            <ac:spMk id="9" creationId="{00000000-0000-0000-0000-000000000000}"/>
          </ac:spMkLst>
        </pc:sp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9B36B-A8DA-4A94-B313-FD28DB1827D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FB326-FE97-489C-96E8-A0B2B51C7CCC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29790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9B36B-A8DA-4A94-B313-FD28DB1827D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FB326-FE97-489C-96E8-A0B2B51C7C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2632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9B36B-A8DA-4A94-B313-FD28DB1827D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FB326-FE97-489C-96E8-A0B2B51C7C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1098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9B36B-A8DA-4A94-B313-FD28DB1827D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FB326-FE97-489C-96E8-A0B2B51C7C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9629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9B36B-A8DA-4A94-B313-FD28DB1827D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FB326-FE97-489C-96E8-A0B2B51C7CCC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3140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9B36B-A8DA-4A94-B313-FD28DB1827D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FB326-FE97-489C-96E8-A0B2B51C7C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432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9B36B-A8DA-4A94-B313-FD28DB1827D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FB326-FE97-489C-96E8-A0B2B51C7C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9762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9B36B-A8DA-4A94-B313-FD28DB1827D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FB326-FE97-489C-96E8-A0B2B51C7C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013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9B36B-A8DA-4A94-B313-FD28DB1827D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FB326-FE97-489C-96E8-A0B2B51C7C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0312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2F59B36B-A8DA-4A94-B313-FD28DB1827D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50FB326-FE97-489C-96E8-A0B2B51C7C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0953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9B36B-A8DA-4A94-B313-FD28DB1827D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FB326-FE97-489C-96E8-A0B2B51C7C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981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nl-NL"/>
          </a:p>
        </p:txBody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nl-NL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2F59B36B-A8DA-4A94-B313-FD28DB1827D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750FB326-FE97-489C-96E8-A0B2B51C7CCC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7658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2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A21E1F-4CFD-4008-8A0E-DDD32ED2A3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191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A21E1F-4CFD-4008-8A0E-DDD32ED2A3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0FDCD4F-616F-4B5A-A731-816FD090F0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CACE76-4532-4A94-A95B-B08F4A6584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The Battle of Neighborhood of Kavala, Greec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F97697-AE67-4729-9166-1212E3B2835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Symela Micha</a:t>
            </a:r>
          </a:p>
          <a:p>
            <a:endParaRPr lang="en-US" dirty="0"/>
          </a:p>
          <a:p>
            <a:pPr algn="r"/>
            <a:r>
              <a:rPr lang="en-US" dirty="0"/>
              <a:t>January 2020</a:t>
            </a:r>
          </a:p>
        </p:txBody>
      </p:sp>
    </p:spTree>
    <p:extLst>
      <p:ext uri="{BB962C8B-B14F-4D97-AF65-F5344CB8AC3E}">
        <p14:creationId xmlns:p14="http://schemas.microsoft.com/office/powerpoint/2010/main" val="4804882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F9AD4-0F37-49D2-8DA8-2C5E5E96C6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4391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F9AD4-0F37-49D2-8DA8-2C5E5E96C6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576798-0ED3-4F8C-B3F7-9C107C8DC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A640C6-8E92-4029-AB4B-1F8A7E39A0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Introduc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Data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Methodology &amp; Tool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Result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onclusion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B424C9-E94A-4638-BD25-3C2531CB22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91109" y="1950287"/>
            <a:ext cx="6538721" cy="381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432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F9AD4-0F37-49D2-8DA8-2C5E5E96C6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F9AD4-0F37-49D2-8DA8-2C5E5E96C6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576798-0ED3-4F8C-B3F7-9C107C8DC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A640C6-8E92-4029-AB4B-1F8A7E39A0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project is to take a glimpse at different neighborhoods of Kavala, Greece.</a:t>
            </a:r>
          </a:p>
          <a:p>
            <a:r>
              <a:rPr lang="en-US" dirty="0"/>
              <a:t>This project may be interesting for property developers to develop new shops in my hometown.</a:t>
            </a:r>
          </a:p>
          <a:p>
            <a:r>
              <a:rPr lang="en-US" dirty="0"/>
              <a:t>Such activity will increase the number of yearly visitors and of course the GDP of Kavala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B7D7BD-5D64-4C50-B26F-121B8D98AF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7280" y="3312925"/>
            <a:ext cx="4654813" cy="2664543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D68844FB-C05F-41FB-865C-F530647A1DB5}"/>
              </a:ext>
            </a:extLst>
          </p:cNvPr>
          <p:cNvSpPr/>
          <p:nvPr/>
        </p:nvSpPr>
        <p:spPr>
          <a:xfrm>
            <a:off x="6126480" y="3923930"/>
            <a:ext cx="1197598" cy="4705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AD1332-DDAD-41FA-B43E-59B70A0227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80210" y="3429000"/>
            <a:ext cx="1415853" cy="1381736"/>
          </a:xfrm>
          <a:prstGeom prst="rect">
            <a:avLst/>
          </a:prstGeom>
        </p:spPr>
      </p:pic>
      <p:pic>
        <p:nvPicPr>
          <p:cNvPr id="9" name="Graphic 8" descr="Add">
            <a:extLst>
              <a:ext uri="{FF2B5EF4-FFF2-40B4-BE49-F238E27FC236}">
                <a16:creationId xmlns:a16="http://schemas.microsoft.com/office/drawing/2014/main" id="{D8CFA8B6-772F-4728-9D70-052E327BAA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52195" y="3736478"/>
            <a:ext cx="766780" cy="766780"/>
          </a:xfrm>
          <a:prstGeom prst="rect">
            <a:avLst/>
          </a:prstGeom>
        </p:spPr>
      </p:pic>
      <p:pic>
        <p:nvPicPr>
          <p:cNvPr id="11" name="Graphic 10" descr="Upward trend">
            <a:extLst>
              <a:ext uri="{FF2B5EF4-FFF2-40B4-BE49-F238E27FC236}">
                <a16:creationId xmlns:a16="http://schemas.microsoft.com/office/drawing/2014/main" id="{8D496B7A-8D9C-4DAD-8036-ABF55D52288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62145" y="3598364"/>
            <a:ext cx="1084021" cy="108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1387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F9AD4-0F37-49D2-8DA8-2C5E5E96C6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2536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F9AD4-0F37-49D2-8DA8-2C5E5E96C6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576798-0ED3-4F8C-B3F7-9C107C8DC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A640C6-8E92-4029-AB4B-1F8A7E39A0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Identified some neighborhoods and collected on their coordinates, latitude and longitude, of Kavala city from online sources.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Example of neighborhoods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6ECA21B-B10A-4EAD-B029-75A979AC8D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36556" y="2844745"/>
            <a:ext cx="5419124" cy="3132723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D69D7F68-2B2B-4682-97ED-DC2AD1B21F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642180"/>
              </p:ext>
            </p:extLst>
          </p:nvPr>
        </p:nvGraphicFramePr>
        <p:xfrm>
          <a:off x="1216241" y="3551068"/>
          <a:ext cx="3701992" cy="2048885"/>
        </p:xfrm>
        <a:graphic>
          <a:graphicData uri="http://schemas.openxmlformats.org/drawingml/2006/table">
            <a:tbl>
              <a:tblPr/>
              <a:tblGrid>
                <a:gridCol w="514905">
                  <a:extLst>
                    <a:ext uri="{9D8B030D-6E8A-4147-A177-3AD203B41FA5}">
                      <a16:colId xmlns:a16="http://schemas.microsoft.com/office/drawing/2014/main" val="2446169867"/>
                    </a:ext>
                  </a:extLst>
                </a:gridCol>
                <a:gridCol w="1336091">
                  <a:extLst>
                    <a:ext uri="{9D8B030D-6E8A-4147-A177-3AD203B41FA5}">
                      <a16:colId xmlns:a16="http://schemas.microsoft.com/office/drawing/2014/main" val="1092026019"/>
                    </a:ext>
                  </a:extLst>
                </a:gridCol>
                <a:gridCol w="925498">
                  <a:extLst>
                    <a:ext uri="{9D8B030D-6E8A-4147-A177-3AD203B41FA5}">
                      <a16:colId xmlns:a16="http://schemas.microsoft.com/office/drawing/2014/main" val="3602427729"/>
                    </a:ext>
                  </a:extLst>
                </a:gridCol>
                <a:gridCol w="925498">
                  <a:extLst>
                    <a:ext uri="{9D8B030D-6E8A-4147-A177-3AD203B41FA5}">
                      <a16:colId xmlns:a16="http://schemas.microsoft.com/office/drawing/2014/main" val="3411539583"/>
                    </a:ext>
                  </a:extLst>
                </a:gridCol>
              </a:tblGrid>
              <a:tr h="418510">
                <a:tc>
                  <a:txBody>
                    <a:bodyPr/>
                    <a:lstStyle/>
                    <a:p>
                      <a:pPr algn="ctr"/>
                      <a:endParaRPr lang="nl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l-NL" sz="1100" b="1" dirty="0" err="1">
                          <a:effectLst/>
                        </a:rPr>
                        <a:t>Neighborhood</a:t>
                      </a:r>
                      <a:endParaRPr lang="nl-NL" sz="1100" b="1" dirty="0">
                        <a:effectLst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l-NL" sz="1100" b="1" dirty="0">
                          <a:effectLst/>
                        </a:rPr>
                        <a:t>Latitud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l-NL" sz="1100" b="1" dirty="0">
                          <a:effectLst/>
                        </a:rPr>
                        <a:t>Longitud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011602"/>
                  </a:ext>
                </a:extLst>
              </a:tr>
              <a:tr h="321931"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 b="1">
                          <a:effectLst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 dirty="0" err="1">
                          <a:effectLst/>
                        </a:rPr>
                        <a:t>Agia</a:t>
                      </a:r>
                      <a:r>
                        <a:rPr lang="nl-NL" sz="1100" dirty="0">
                          <a:effectLst/>
                        </a:rPr>
                        <a:t> </a:t>
                      </a:r>
                      <a:r>
                        <a:rPr lang="nl-NL" sz="1100" dirty="0" err="1">
                          <a:effectLst/>
                        </a:rPr>
                        <a:t>Varvara</a:t>
                      </a:r>
                      <a:endParaRPr lang="nl-NL" sz="110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>
                          <a:effectLst/>
                        </a:rPr>
                        <a:t>40.9376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 dirty="0">
                          <a:effectLst/>
                        </a:rPr>
                        <a:t>24.41919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799730"/>
                  </a:ext>
                </a:extLst>
              </a:tr>
              <a:tr h="405502"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 b="1">
                          <a:effectLst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>
                          <a:effectLst/>
                        </a:rPr>
                        <a:t>Agios Athanasio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 dirty="0">
                          <a:effectLst/>
                        </a:rPr>
                        <a:t>40.8170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>
                          <a:effectLst/>
                        </a:rPr>
                        <a:t>24.29553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7632379"/>
                  </a:ext>
                </a:extLst>
              </a:tr>
              <a:tr h="321931"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 b="1">
                          <a:effectLst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>
                          <a:effectLst/>
                        </a:rPr>
                        <a:t>Agios Ioanni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 dirty="0">
                          <a:effectLst/>
                        </a:rPr>
                        <a:t>40.93714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>
                          <a:effectLst/>
                        </a:rPr>
                        <a:t>24.3998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717815"/>
                  </a:ext>
                </a:extLst>
              </a:tr>
              <a:tr h="321931"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 b="1">
                          <a:effectLst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>
                          <a:effectLst/>
                        </a:rPr>
                        <a:t>Agios Louka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 dirty="0">
                          <a:effectLst/>
                        </a:rPr>
                        <a:t>40.9333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>
                          <a:effectLst/>
                        </a:rPr>
                        <a:t>24.38172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6075909"/>
                  </a:ext>
                </a:extLst>
              </a:tr>
              <a:tr h="246198"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 b="1">
                          <a:effectLst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>
                          <a:effectLst/>
                        </a:rPr>
                        <a:t>Dexamen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 dirty="0">
                          <a:effectLst/>
                        </a:rPr>
                        <a:t>40.9397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100" dirty="0">
                          <a:effectLst/>
                        </a:rPr>
                        <a:t>24.3934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9276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44697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F9AD4-0F37-49D2-8DA8-2C5E5E96C6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791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F9AD4-0F37-49D2-8DA8-2C5E5E96C6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5720FEE-125E-422D-8596-791EFA4626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576798-0ED3-4F8C-B3F7-9C107C8DC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 &amp; Too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A640C6-8E92-4029-AB4B-1F8A7E39A0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Skills from all previous weeks lab activities plus some Python programming skills and knowledge of IBM cloud to help the project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The notebook will be created in IBM Watson Studio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GitHub will be used to share the notebook and commit it to the Master branch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We relied on the Foursquare API to retrieve all venues of each identified neighborhood of Kavala city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 Then we grouped each neighborhood and count how many venues exist. Then filter them on the top 100 which are within a radius of 2000 meters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As a final step we analyzed each neighborhood and selected “</a:t>
            </a:r>
            <a:r>
              <a:rPr lang="en-US" dirty="0" err="1"/>
              <a:t>Bougatsa</a:t>
            </a:r>
            <a:r>
              <a:rPr lang="en-US" dirty="0"/>
              <a:t> shop” as the suggested shop to be developed. </a:t>
            </a:r>
            <a:r>
              <a:rPr lang="en-US" dirty="0" err="1"/>
              <a:t>Bougatsa</a:t>
            </a:r>
            <a:r>
              <a:rPr lang="en-US" dirty="0"/>
              <a:t> shops are bakeries with traditional North Greece soured pie. Such investment is very important for the locals and it is an attraction of tourists too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7222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D48673-ED83-4304-8270-D4B4C68C13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D48673-ED83-4304-8270-D4B4C68C1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EFAC26-E64D-4750-B03D-89098A72D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BDDC58-3177-4482-83F5-30C27B3E97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Most of the </a:t>
            </a:r>
            <a:r>
              <a:rPr lang="en-US" dirty="0" err="1"/>
              <a:t>Bougatsa</a:t>
            </a:r>
            <a:r>
              <a:rPr lang="en-US" dirty="0"/>
              <a:t> shops are concentrated in the central area of Kavala city, with the highest number in cluster 2 and moderate numbers in cluster 0. See below tables: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363A9E2-9CB4-415B-AAB1-50F0D1B6BE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977992"/>
              </p:ext>
            </p:extLst>
          </p:nvPr>
        </p:nvGraphicFramePr>
        <p:xfrm>
          <a:off x="2487819" y="2564315"/>
          <a:ext cx="5613054" cy="2194560"/>
        </p:xfrm>
        <a:graphic>
          <a:graphicData uri="http://schemas.openxmlformats.org/drawingml/2006/table">
            <a:tbl>
              <a:tblPr/>
              <a:tblGrid>
                <a:gridCol w="490639">
                  <a:extLst>
                    <a:ext uri="{9D8B030D-6E8A-4147-A177-3AD203B41FA5}">
                      <a16:colId xmlns:a16="http://schemas.microsoft.com/office/drawing/2014/main" val="356367155"/>
                    </a:ext>
                  </a:extLst>
                </a:gridCol>
                <a:gridCol w="1109709">
                  <a:extLst>
                    <a:ext uri="{9D8B030D-6E8A-4147-A177-3AD203B41FA5}">
                      <a16:colId xmlns:a16="http://schemas.microsoft.com/office/drawing/2014/main" val="9579574"/>
                    </a:ext>
                  </a:extLst>
                </a:gridCol>
                <a:gridCol w="1206179">
                  <a:extLst>
                    <a:ext uri="{9D8B030D-6E8A-4147-A177-3AD203B41FA5}">
                      <a16:colId xmlns:a16="http://schemas.microsoft.com/office/drawing/2014/main" val="1931527060"/>
                    </a:ext>
                  </a:extLst>
                </a:gridCol>
                <a:gridCol w="935509">
                  <a:extLst>
                    <a:ext uri="{9D8B030D-6E8A-4147-A177-3AD203B41FA5}">
                      <a16:colId xmlns:a16="http://schemas.microsoft.com/office/drawing/2014/main" val="1528175106"/>
                    </a:ext>
                  </a:extLst>
                </a:gridCol>
                <a:gridCol w="935509">
                  <a:extLst>
                    <a:ext uri="{9D8B030D-6E8A-4147-A177-3AD203B41FA5}">
                      <a16:colId xmlns:a16="http://schemas.microsoft.com/office/drawing/2014/main" val="4214900831"/>
                    </a:ext>
                  </a:extLst>
                </a:gridCol>
                <a:gridCol w="935509">
                  <a:extLst>
                    <a:ext uri="{9D8B030D-6E8A-4147-A177-3AD203B41FA5}">
                      <a16:colId xmlns:a16="http://schemas.microsoft.com/office/drawing/2014/main" val="3942074118"/>
                    </a:ext>
                  </a:extLst>
                </a:gridCol>
              </a:tblGrid>
              <a:tr h="232120">
                <a:tc>
                  <a:txBody>
                    <a:bodyPr/>
                    <a:lstStyle/>
                    <a:p>
                      <a:endParaRPr lang="nl-NL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 err="1">
                          <a:effectLst/>
                        </a:rPr>
                        <a:t>Neighborhood</a:t>
                      </a:r>
                      <a:endParaRPr lang="nl-NL" sz="1000" b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Bougatsa Sho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Cluster Label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Latitu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>
                          <a:effectLst/>
                        </a:rPr>
                        <a:t>Longitu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5099203"/>
                  </a:ext>
                </a:extLst>
              </a:tr>
              <a:tr h="232120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>
                          <a:effectLst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 err="1">
                          <a:effectLst/>
                        </a:rPr>
                        <a:t>Agia</a:t>
                      </a:r>
                      <a:r>
                        <a:rPr lang="nl-NL" sz="1000" dirty="0">
                          <a:effectLst/>
                        </a:rPr>
                        <a:t> </a:t>
                      </a:r>
                      <a:r>
                        <a:rPr lang="nl-NL" sz="1000" dirty="0" err="1">
                          <a:effectLst/>
                        </a:rPr>
                        <a:t>Varvara</a:t>
                      </a:r>
                      <a:endParaRPr lang="nl-NL" sz="100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0.03030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40.9376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24.41919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736512"/>
                  </a:ext>
                </a:extLst>
              </a:tr>
              <a:tr h="232120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 err="1">
                          <a:effectLst/>
                        </a:rPr>
                        <a:t>Agios</a:t>
                      </a:r>
                      <a:r>
                        <a:rPr lang="nl-NL" sz="1000" dirty="0">
                          <a:effectLst/>
                        </a:rPr>
                        <a:t> </a:t>
                      </a:r>
                      <a:r>
                        <a:rPr lang="nl-NL" sz="1000" dirty="0" err="1">
                          <a:effectLst/>
                        </a:rPr>
                        <a:t>Ioannis</a:t>
                      </a:r>
                      <a:endParaRPr lang="nl-NL" sz="100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0.03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40.93714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24.3998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3003996"/>
                  </a:ext>
                </a:extLst>
              </a:tr>
              <a:tr h="232120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Kentro (Centre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0.0319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40.9359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24.4085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563086"/>
                  </a:ext>
                </a:extLst>
              </a:tr>
              <a:tr h="232120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Panag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0.0322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40.9343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24.41442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8774958"/>
                  </a:ext>
                </a:extLst>
              </a:tr>
              <a:tr h="232120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Perigial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0.0312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40.93688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24.40578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1958291"/>
                  </a:ext>
                </a:extLst>
              </a:tr>
              <a:tr h="232120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Potamoud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0.03092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40.94175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24.40227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5516927"/>
                  </a:ext>
                </a:extLst>
              </a:tr>
              <a:tr h="232120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Profitis Ilia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0.0315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40.94183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24.4047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305419"/>
                  </a:ext>
                </a:extLst>
              </a:tr>
              <a:tr h="232120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 err="1">
                          <a:effectLst/>
                        </a:rPr>
                        <a:t>Timios</a:t>
                      </a:r>
                      <a:r>
                        <a:rPr lang="nl-NL" sz="1000" dirty="0">
                          <a:effectLst/>
                        </a:rPr>
                        <a:t> </a:t>
                      </a:r>
                      <a:r>
                        <a:rPr lang="nl-NL" sz="1000" dirty="0" err="1">
                          <a:effectLst/>
                        </a:rPr>
                        <a:t>Stavros</a:t>
                      </a:r>
                      <a:endParaRPr lang="nl-NL" sz="100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0.030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40.94025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24.4158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811696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0A8CF97-BCA8-4216-BD2A-7A691B2B43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6747084"/>
              </p:ext>
            </p:extLst>
          </p:nvPr>
        </p:nvGraphicFramePr>
        <p:xfrm>
          <a:off x="2487819" y="5052513"/>
          <a:ext cx="5618971" cy="1110219"/>
        </p:xfrm>
        <a:graphic>
          <a:graphicData uri="http://schemas.openxmlformats.org/drawingml/2006/table">
            <a:tbl>
              <a:tblPr/>
              <a:tblGrid>
                <a:gridCol w="455396">
                  <a:extLst>
                    <a:ext uri="{9D8B030D-6E8A-4147-A177-3AD203B41FA5}">
                      <a16:colId xmlns:a16="http://schemas.microsoft.com/office/drawing/2014/main" val="1904174009"/>
                    </a:ext>
                  </a:extLst>
                </a:gridCol>
                <a:gridCol w="1152958">
                  <a:extLst>
                    <a:ext uri="{9D8B030D-6E8A-4147-A177-3AD203B41FA5}">
                      <a16:colId xmlns:a16="http://schemas.microsoft.com/office/drawing/2014/main" val="3419080547"/>
                    </a:ext>
                  </a:extLst>
                </a:gridCol>
                <a:gridCol w="1003554">
                  <a:extLst>
                    <a:ext uri="{9D8B030D-6E8A-4147-A177-3AD203B41FA5}">
                      <a16:colId xmlns:a16="http://schemas.microsoft.com/office/drawing/2014/main" val="3751095009"/>
                    </a:ext>
                  </a:extLst>
                </a:gridCol>
                <a:gridCol w="1124221">
                  <a:extLst>
                    <a:ext uri="{9D8B030D-6E8A-4147-A177-3AD203B41FA5}">
                      <a16:colId xmlns:a16="http://schemas.microsoft.com/office/drawing/2014/main" val="562541241"/>
                    </a:ext>
                  </a:extLst>
                </a:gridCol>
                <a:gridCol w="977981">
                  <a:extLst>
                    <a:ext uri="{9D8B030D-6E8A-4147-A177-3AD203B41FA5}">
                      <a16:colId xmlns:a16="http://schemas.microsoft.com/office/drawing/2014/main" val="2895022935"/>
                    </a:ext>
                  </a:extLst>
                </a:gridCol>
                <a:gridCol w="904861">
                  <a:extLst>
                    <a:ext uri="{9D8B030D-6E8A-4147-A177-3AD203B41FA5}">
                      <a16:colId xmlns:a16="http://schemas.microsoft.com/office/drawing/2014/main" val="2639332682"/>
                    </a:ext>
                  </a:extLst>
                </a:gridCol>
              </a:tblGrid>
              <a:tr h="467327">
                <a:tc>
                  <a:txBody>
                    <a:bodyPr/>
                    <a:lstStyle/>
                    <a:p>
                      <a:endParaRPr lang="nl-NL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br>
                        <a:rPr lang="nl-NL" sz="1000" b="1" dirty="0">
                          <a:effectLst/>
                        </a:rPr>
                      </a:br>
                      <a:r>
                        <a:rPr lang="nl-NL" sz="1000" b="1" dirty="0" err="1">
                          <a:effectLst/>
                        </a:rPr>
                        <a:t>Neighborhood</a:t>
                      </a:r>
                      <a:endParaRPr lang="nl-NL" sz="1000" b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 err="1">
                          <a:effectLst/>
                        </a:rPr>
                        <a:t>Bougatsa</a:t>
                      </a:r>
                      <a:r>
                        <a:rPr lang="nl-NL" sz="1000" b="1" dirty="0">
                          <a:effectLst/>
                        </a:rPr>
                        <a:t> Sho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>
                          <a:effectLst/>
                        </a:rPr>
                        <a:t>Cluster Label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>
                          <a:effectLst/>
                        </a:rPr>
                        <a:t>Latitu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>
                          <a:effectLst/>
                        </a:rPr>
                        <a:t>Longitu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079239"/>
                  </a:ext>
                </a:extLst>
              </a:tr>
              <a:tr h="321446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Dexamen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0.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40.9397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24.3934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0147602"/>
                  </a:ext>
                </a:extLst>
              </a:tr>
              <a:tr h="321446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Vyrona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0.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40.9351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24.39196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24685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21961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D48673-ED83-4304-8270-D4B4C68C13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044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D48673-ED83-4304-8270-D4B4C68C1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EFAC26-E64D-4750-B03D-89098A72D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BDDC58-3177-4482-83F5-30C27B3E97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On the other hand, cluster 1 has very low numbers to totally none </a:t>
            </a:r>
            <a:r>
              <a:rPr lang="en-US" dirty="0" err="1"/>
              <a:t>bougatsa</a:t>
            </a:r>
            <a:r>
              <a:rPr lang="en-US" dirty="0"/>
              <a:t> shops in the neighborhoods. This represents a great opportunity and high potential areas to open </a:t>
            </a:r>
            <a:r>
              <a:rPr lang="en-US" dirty="0" err="1"/>
              <a:t>bougatsa</a:t>
            </a:r>
            <a:r>
              <a:rPr lang="en-US" dirty="0"/>
              <a:t> shops as there is very little to none competition from existing shops. See below table: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CFF26E6-59FC-430E-8F78-7E82452F7B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7096318"/>
              </p:ext>
            </p:extLst>
          </p:nvPr>
        </p:nvGraphicFramePr>
        <p:xfrm>
          <a:off x="2002802" y="3112281"/>
          <a:ext cx="7270812" cy="1166756"/>
        </p:xfrm>
        <a:graphic>
          <a:graphicData uri="http://schemas.openxmlformats.org/drawingml/2006/table">
            <a:tbl>
              <a:tblPr/>
              <a:tblGrid>
                <a:gridCol w="736846">
                  <a:extLst>
                    <a:ext uri="{9D8B030D-6E8A-4147-A177-3AD203B41FA5}">
                      <a16:colId xmlns:a16="http://schemas.microsoft.com/office/drawing/2014/main" val="2740856342"/>
                    </a:ext>
                  </a:extLst>
                </a:gridCol>
                <a:gridCol w="1370713">
                  <a:extLst>
                    <a:ext uri="{9D8B030D-6E8A-4147-A177-3AD203B41FA5}">
                      <a16:colId xmlns:a16="http://schemas.microsoft.com/office/drawing/2014/main" val="3991356221"/>
                    </a:ext>
                  </a:extLst>
                </a:gridCol>
                <a:gridCol w="1340528">
                  <a:extLst>
                    <a:ext uri="{9D8B030D-6E8A-4147-A177-3AD203B41FA5}">
                      <a16:colId xmlns:a16="http://schemas.microsoft.com/office/drawing/2014/main" val="3993307674"/>
                    </a:ext>
                  </a:extLst>
                </a:gridCol>
                <a:gridCol w="1070647">
                  <a:extLst>
                    <a:ext uri="{9D8B030D-6E8A-4147-A177-3AD203B41FA5}">
                      <a16:colId xmlns:a16="http://schemas.microsoft.com/office/drawing/2014/main" val="4094940491"/>
                    </a:ext>
                  </a:extLst>
                </a:gridCol>
                <a:gridCol w="1540276">
                  <a:extLst>
                    <a:ext uri="{9D8B030D-6E8A-4147-A177-3AD203B41FA5}">
                      <a16:colId xmlns:a16="http://schemas.microsoft.com/office/drawing/2014/main" val="3393179795"/>
                    </a:ext>
                  </a:extLst>
                </a:gridCol>
                <a:gridCol w="1211802">
                  <a:extLst>
                    <a:ext uri="{9D8B030D-6E8A-4147-A177-3AD203B41FA5}">
                      <a16:colId xmlns:a16="http://schemas.microsoft.com/office/drawing/2014/main" val="759557551"/>
                    </a:ext>
                  </a:extLst>
                </a:gridCol>
              </a:tblGrid>
              <a:tr h="291689">
                <a:tc>
                  <a:txBody>
                    <a:bodyPr/>
                    <a:lstStyle/>
                    <a:p>
                      <a:endParaRPr lang="nl-NL" sz="1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 err="1">
                          <a:effectLst/>
                        </a:rPr>
                        <a:t>Neighborhood</a:t>
                      </a:r>
                      <a:endParaRPr lang="nl-NL" sz="1000" b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 err="1">
                          <a:effectLst/>
                        </a:rPr>
                        <a:t>Bougatsa</a:t>
                      </a:r>
                      <a:r>
                        <a:rPr lang="nl-NL" sz="1000" b="1" dirty="0">
                          <a:effectLst/>
                        </a:rPr>
                        <a:t> Sho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>
                          <a:effectLst/>
                        </a:rPr>
                        <a:t>Cluster Label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>
                          <a:effectLst/>
                        </a:rPr>
                        <a:t>Latitu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>
                          <a:effectLst/>
                        </a:rPr>
                        <a:t>Longitu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2646484"/>
                  </a:ext>
                </a:extLst>
              </a:tr>
              <a:tr h="291689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 dirty="0">
                          <a:effectLst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 err="1">
                          <a:effectLst/>
                        </a:rPr>
                        <a:t>Agios</a:t>
                      </a:r>
                      <a:r>
                        <a:rPr lang="nl-NL" sz="1000" dirty="0">
                          <a:effectLst/>
                        </a:rPr>
                        <a:t> </a:t>
                      </a:r>
                      <a:r>
                        <a:rPr lang="nl-NL" sz="1000" dirty="0" err="1">
                          <a:effectLst/>
                        </a:rPr>
                        <a:t>Athanasios</a:t>
                      </a:r>
                      <a:endParaRPr lang="nl-NL" sz="100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0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40.8170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24.29553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4462354"/>
                  </a:ext>
                </a:extLst>
              </a:tr>
              <a:tr h="291689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 err="1">
                          <a:effectLst/>
                        </a:rPr>
                        <a:t>Agios</a:t>
                      </a:r>
                      <a:r>
                        <a:rPr lang="nl-NL" sz="1000" dirty="0">
                          <a:effectLst/>
                        </a:rPr>
                        <a:t> Louka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0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40.9333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24.38172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124147"/>
                  </a:ext>
                </a:extLst>
              </a:tr>
              <a:tr h="291689"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b="1">
                          <a:effectLst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>
                          <a:effectLst/>
                        </a:rPr>
                        <a:t>Kalamits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0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40.9222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nl-NL" sz="1000" dirty="0">
                          <a:effectLst/>
                        </a:rPr>
                        <a:t>24.38369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37406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7583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F1C45A-A401-49A7-940F-D08BDBA3B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7905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F1C45A-A401-49A7-940F-D08BDBA3B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4F51AAF-31EF-451C-83CC-66046738CB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9B18D8-A8C2-4BAC-A540-76221EF41F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avala city is a nice city to invest in properties as it combines 2 different landscapes: mountain and sea. </a:t>
            </a:r>
          </a:p>
          <a:p>
            <a:r>
              <a:rPr lang="en-US" dirty="0"/>
              <a:t>When an investment is related with tradition is for sure a touristic attraction.</a:t>
            </a:r>
          </a:p>
          <a:p>
            <a:endParaRPr lang="en-US" dirty="0"/>
          </a:p>
          <a:p>
            <a:r>
              <a:rPr lang="en-US" dirty="0" err="1"/>
              <a:t>Bougatsa</a:t>
            </a:r>
            <a:r>
              <a:rPr lang="en-US" dirty="0"/>
              <a:t> -&gt; 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6C6735-1DD5-449C-A25C-7ED71C4418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1750" y="3189301"/>
            <a:ext cx="3524250" cy="234791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E6CA86-D184-444A-A303-F552596A2E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4885" y="3189301"/>
            <a:ext cx="4187302" cy="2442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2349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396-85FA-47FE-ACB8-365D920CD1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904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396-85FA-47FE-ACB8-365D920CD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47C0FA2-E3F1-4CCD-8FD8-EB3C4AF7E3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26A27A-1222-48F2-A3F3-4FAA89171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!</a:t>
            </a:r>
            <a:endParaRPr lang="nl-NL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55CD8E2-A797-4056-AF75-1D50E5D9932C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</p:spTree>
    <p:extLst>
      <p:ext uri="{BB962C8B-B14F-4D97-AF65-F5344CB8AC3E}">
        <p14:creationId xmlns:p14="http://schemas.microsoft.com/office/powerpoint/2010/main" val="1122814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k2YbKvd7eAbUWL_qbg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u0.onidKLZ1fhQVQMX7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cKOVXNGQAB6Od83VM2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57</TotalTime>
  <Words>499</Words>
  <Application>Microsoft Office PowerPoint</Application>
  <PresentationFormat>Widescreen</PresentationFormat>
  <Paragraphs>159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Calibri</vt:lpstr>
      <vt:lpstr>Calibri Light</vt:lpstr>
      <vt:lpstr>Wingdings</vt:lpstr>
      <vt:lpstr>Retrospect</vt:lpstr>
      <vt:lpstr>think-cell Slide</vt:lpstr>
      <vt:lpstr>The Battle of Neighborhood of Kavala, Greece</vt:lpstr>
      <vt:lpstr>Agenda</vt:lpstr>
      <vt:lpstr>Introduction</vt:lpstr>
      <vt:lpstr>Data</vt:lpstr>
      <vt:lpstr>Methodology &amp; Tools</vt:lpstr>
      <vt:lpstr>Results</vt:lpstr>
      <vt:lpstr>Results</vt:lpstr>
      <vt:lpstr>Conclusion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Battle of Neighborhood</dc:title>
  <dc:creator>Tianli Chen</dc:creator>
  <cp:lastModifiedBy>Micha, Symela</cp:lastModifiedBy>
  <cp:revision>3</cp:revision>
  <dcterms:created xsi:type="dcterms:W3CDTF">2018-12-27T16:20:20Z</dcterms:created>
  <dcterms:modified xsi:type="dcterms:W3CDTF">2020-01-28T13:11:57Z</dcterms:modified>
</cp:coreProperties>
</file>